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p:scale>
          <a:sx n="80" d="100"/>
          <a:sy n="80" d="100"/>
        </p:scale>
        <p:origin x="-630" y="456"/>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FFB9CA03-3EB0-40AA-997A-E7AF7A04A99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CAFE953E-7E16-42D7-8228-4C3653497C2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542FBF74-8AE7-48B8-9793-D531EB3F57C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C21E0C5C-2321-4CD0-B1BC-78CDCED9DC0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8999999999999998</c:v>
                </c:pt>
                <c:pt idx="1">
                  <c:v>0.33</c:v>
                </c:pt>
                <c:pt idx="2">
                  <c:v>0.28000000000000003</c:v>
                </c:pt>
                <c:pt idx="3">
                  <c:v>0.1</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5</c15:f>
                <c15:dlblRangeCache>
                  <c:ptCount val="4"/>
                  <c:pt idx="0">
                    <c:v>29%</c:v>
                  </c:pt>
                  <c:pt idx="1">
                    <c:v>33%</c:v>
                  </c:pt>
                  <c:pt idx="2">
                    <c:v>28%</c:v>
                  </c:pt>
                  <c:pt idx="3">
                    <c:v>10%</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r>
                      <a:rPr lang="en-US" dirty="0"/>
                      <a:t>-</a:t>
                    </a:r>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AE26-433D-82F1-4674F4195729}"/>
                </c:ext>
              </c:extLst>
            </c:dLbl>
            <c:dLbl>
              <c:idx val="1"/>
              <c:tx>
                <c:rich>
                  <a:bodyPr/>
                  <a:lstStyle/>
                  <a:p>
                    <a:fld id="{18E44104-8B79-4BCB-A2EA-7D13DFBDEDF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9AA6B5B5-A823-4B8E-9480-5A0B6AACA57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C120DB8C-D91F-41B4-BC5C-B4ED2212F07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3</c:v>
                </c:pt>
                <c:pt idx="2">
                  <c:v>0.54</c:v>
                </c:pt>
                <c:pt idx="3">
                  <c:v>0.32</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L$2:$L$5</c15:f>
                <c15:dlblRangeCache>
                  <c:ptCount val="4"/>
                  <c:pt idx="0">
                    <c:v>0%</c:v>
                  </c:pt>
                  <c:pt idx="1">
                    <c:v>13%</c:v>
                  </c:pt>
                  <c:pt idx="2">
                    <c:v>54%</c:v>
                  </c:pt>
                  <c:pt idx="3">
                    <c:v>32%</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69</c:v>
                </c:pt>
                <c:pt idx="1">
                  <c:v>0.75</c:v>
                </c:pt>
                <c:pt idx="2">
                  <c:v>0.81</c:v>
                </c:pt>
                <c:pt idx="3">
                  <c:v>0.9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D62D639F-99E9-4E7D-9CA2-EE9F4DA9F08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D5EE3334-A825-4808-AEDE-7F8A81C37DC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A2B9CA21-46AB-4152-BABB-E2A4805563E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31</c:v>
                </c:pt>
                <c:pt idx="1">
                  <c:v>0.25</c:v>
                </c:pt>
                <c:pt idx="2">
                  <c:v>0.19</c:v>
                </c:pt>
                <c:pt idx="3">
                  <c:v>0.0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69%</c:v>
                  </c:pt>
                  <c:pt idx="1">
                    <c:v>75%</c:v>
                  </c:pt>
                  <c:pt idx="2">
                    <c:v>81%</c:v>
                  </c:pt>
                  <c:pt idx="3">
                    <c:v>91%</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77</c:v>
                </c:pt>
                <c:pt idx="1">
                  <c:v>0</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00AC1546-87A9-44CB-98F2-11589EAE459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9EEFBF5B-04BA-47AA-92BA-842CC7D2414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FADAA99F-118F-410E-931A-CA5E0A8C4C1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C84C972C-26BF-4845-A000-CC83FB0F6A1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23</c:v>
                </c:pt>
                <c:pt idx="1">
                  <c:v>0</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77%</c:v>
                  </c:pt>
                  <c:pt idx="1">
                    <c:v>-</c:v>
                  </c:pt>
                  <c:pt idx="2">
                    <c:v>-</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77</c:v>
                </c:pt>
                <c:pt idx="1">
                  <c:v>0.76</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B858F403-E729-445F-9BEA-A5B57EF0B78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5F6A33AB-A6C3-4026-ABC5-D2F2483C96D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B59CC208-57A8-4244-B4BB-81CDACCE2AC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940EC458-13DC-4230-B115-B7E84F3D7C8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23</c:v>
                </c:pt>
                <c:pt idx="1">
                  <c:v>0.24</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77%</c:v>
                  </c:pt>
                  <c:pt idx="1">
                    <c:v>76%</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77</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C6B71E4B-3217-47AD-BE9A-BCD75C7E92D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A9530FA2-0775-46EA-B159-69B863401C2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23</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77%</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7</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3%</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65</c:v>
                </c:pt>
                <c:pt idx="1">
                  <c:v>0.92</c:v>
                </c:pt>
                <c:pt idx="2">
                  <c:v>0.86</c:v>
                </c:pt>
                <c:pt idx="3">
                  <c:v>0.88</c:v>
                </c:pt>
                <c:pt idx="4">
                  <c:v>0.8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EC6D3BEA-69F8-4262-8A4C-6CA87464E4C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BEADED84-527B-4ED9-AD48-B84463A1813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85E62033-81A6-45A2-9DB6-E7D262EABAA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25142ECC-B22D-435A-BB12-6B63D7B344A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35</c:v>
                </c:pt>
                <c:pt idx="1">
                  <c:v>0.08</c:v>
                </c:pt>
                <c:pt idx="2">
                  <c:v>0.14000000000000001</c:v>
                </c:pt>
                <c:pt idx="3">
                  <c:v>0.12</c:v>
                </c:pt>
                <c:pt idx="4">
                  <c:v>0.1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65%</c:v>
                  </c:pt>
                  <c:pt idx="1">
                    <c:v>92%</c:v>
                  </c:pt>
                  <c:pt idx="2">
                    <c:v>86%</c:v>
                  </c:pt>
                  <c:pt idx="3">
                    <c:v>88%</c:v>
                  </c:pt>
                  <c:pt idx="4">
                    <c:v>81%</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72</c:v>
                </c:pt>
                <c:pt idx="2">
                  <c:v>0.84</c:v>
                </c:pt>
                <c:pt idx="3">
                  <c:v>0.8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50F883A7-784F-4FEF-941C-85EE512579F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01DD3918-954C-4F78-8136-6916FAF2E4A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56C061AB-DF06-4480-A898-257046260A0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28000000000000003</c:v>
                </c:pt>
                <c:pt idx="2">
                  <c:v>0.16</c:v>
                </c:pt>
                <c:pt idx="3">
                  <c:v>0.140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c:v>
                  </c:pt>
                  <c:pt idx="1">
                    <c:v>72%</c:v>
                  </c:pt>
                  <c:pt idx="2">
                    <c:v>84%</c:v>
                  </c:pt>
                  <c:pt idx="3">
                    <c:v>86%</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6</c:v>
                </c:pt>
                <c:pt idx="1">
                  <c:v>0</c:v>
                </c:pt>
                <c:pt idx="2">
                  <c:v>0.73</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63EF5336-47F8-417C-8357-55E9B2FF122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B7DB448C-808E-4BAA-A693-B297038E64A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CDE7968C-988E-4802-B2E7-FE72ED89194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E954D5FC-128A-4BC0-89D3-BA6C0746F5E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4000000000000001</c:v>
                </c:pt>
                <c:pt idx="1">
                  <c:v>0</c:v>
                </c:pt>
                <c:pt idx="2">
                  <c:v>0.27</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6%</c:v>
                  </c:pt>
                  <c:pt idx="1">
                    <c:v>-</c:v>
                  </c:pt>
                  <c:pt idx="2">
                    <c:v>73%</c:v>
                  </c:pt>
                  <c:pt idx="3">
                    <c:v>-</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3</c:v>
                </c:pt>
                <c:pt idx="1">
                  <c:v>0.84</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C94A3172-EA6E-4A42-B36C-9F7A38C175B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CB8DA55A-03C2-464A-A3FA-9503C50F072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63F53B96-C831-45C2-A836-87D2687C05A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B2840DE8-F0FD-4462-82C4-CB2E2C25A72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7</c:v>
                </c:pt>
                <c:pt idx="1">
                  <c:v>0.16</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3%</c:v>
                  </c:pt>
                  <c:pt idx="1">
                    <c:v>84%</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3</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E098905B-5C31-4311-9F18-16C83900216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4F88FBDD-000C-4283-B256-A3DF597AF15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7</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3%</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3</c:v>
                </c:pt>
                <c:pt idx="1">
                  <c:v>89</c:v>
                </c:pt>
                <c:pt idx="2">
                  <c:v>3</c:v>
                </c:pt>
                <c:pt idx="3">
                  <c:v>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87</c:v>
                </c:pt>
                <c:pt idx="1">
                  <c:v>10</c:v>
                </c:pt>
                <c:pt idx="2">
                  <c:v>3</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B8440FCA-8257-4DFC-A98F-CBD667950B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F7DF80F4-5B10-464A-8681-CF962C3E581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B65F628B-6FCC-4566-B380-1A98AD02ADB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r>
                      <a:rPr lang="en-GB"/>
                      <a:t>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115E-48E7-9278-D03DDCBD9794}"/>
                </c:ext>
              </c:extLst>
            </c:dLbl>
            <c:dLbl>
              <c:idx val="5"/>
              <c:tx>
                <c:rich>
                  <a:bodyPr/>
                  <a:lstStyle/>
                  <a:p>
                    <a:fld id="{E1EDD1FA-720E-4FF0-ADA1-31572582CA7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0778B5B1-D28C-46D6-A2AE-3FE3CE3743A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0</c:v>
                </c:pt>
                <c:pt idx="1">
                  <c:v>7</c:v>
                </c:pt>
                <c:pt idx="2">
                  <c:v>3</c:v>
                </c:pt>
                <c:pt idx="3">
                  <c:v>2</c:v>
                </c:pt>
                <c:pt idx="4">
                  <c:v>5</c:v>
                </c:pt>
                <c:pt idx="5">
                  <c:v>4</c:v>
                </c:pt>
                <c:pt idx="6">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0%</c:v>
                  </c:pt>
                  <c:pt idx="1">
                    <c:v>7%</c:v>
                  </c:pt>
                  <c:pt idx="2">
                    <c:v>3%</c:v>
                  </c:pt>
                  <c:pt idx="3">
                    <c:v>2%</c:v>
                  </c:pt>
                  <c:pt idx="4">
                    <c:v>5%p</c:v>
                  </c:pt>
                  <c:pt idx="5">
                    <c:v>4%</c:v>
                  </c:pt>
                  <c:pt idx="6">
                    <c:v>39%</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4D06E0B0-3037-4D1D-9130-84930A99C92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2F05071D-99C6-46F0-B7DD-C67EEE70D5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ADBE0FE7-FF58-4822-8866-A51F8EDA80C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51A34FC9-F2F2-4A05-8F63-541CABF3CD2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4F825683-BE8C-4573-B2F2-37D7E341742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A8EED55B-FDE5-4B90-B433-97561F181B4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5</c:v>
                </c:pt>
                <c:pt idx="1">
                  <c:v>6</c:v>
                </c:pt>
                <c:pt idx="2">
                  <c:v>4</c:v>
                </c:pt>
                <c:pt idx="3">
                  <c:v>2</c:v>
                </c:pt>
                <c:pt idx="4">
                  <c:v>11</c:v>
                </c:pt>
                <c:pt idx="5">
                  <c:v>3</c:v>
                </c:pt>
                <c:pt idx="6">
                  <c:v>3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5%</c:v>
                  </c:pt>
                  <c:pt idx="1">
                    <c:v>6%</c:v>
                  </c:pt>
                  <c:pt idx="2">
                    <c:v>4%</c:v>
                  </c:pt>
                  <c:pt idx="3">
                    <c:v>2%</c:v>
                  </c:pt>
                  <c:pt idx="4">
                    <c:v>11%</c:v>
                  </c:pt>
                  <c:pt idx="5">
                    <c:v>3%</c:v>
                  </c:pt>
                  <c:pt idx="6">
                    <c:v>32%</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06EF-47F1-B883-7748EC1E367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EF-47F1-B883-7748EC1E367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97F776D7-72B1-4152-BBF8-BF6502127E8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7C0807F2-20CE-498F-8773-6CA3B994B93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1</c:v>
                </c:pt>
                <c:pt idx="1">
                  <c:v>8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1%</c:v>
                  </c:pt>
                  <c:pt idx="1">
                    <c:v>89%</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2F0-4CF1-80C7-205225AB80C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2F0-4CF1-80C7-205225AB80C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FE7FD48B-918B-456B-8452-49B5631A205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7701B196-FAD9-4125-A398-38C3D253C54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3</c:v>
                </c:pt>
                <c:pt idx="1">
                  <c:v>8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3%</c:v>
                  </c:pt>
                  <c:pt idx="1">
                    <c:v>87%</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5CF-40B3-8374-492CB86772A0}"/>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CF-40B3-8374-492CB86772A0}"/>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7418A12D-9135-4BCA-96E5-3C7BC773FC9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C70BD254-A540-44D6-B64D-899670DDE63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2</c:v>
                </c:pt>
                <c:pt idx="1">
                  <c:v>7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2%</c:v>
                  </c:pt>
                  <c:pt idx="1">
                    <c:v>78%</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411CFCD7-17CD-4F87-AC4A-CE7C4192BC09}"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5161BAA7-9753-4808-B07C-900BD7512BD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FCE1227F-840F-4466-940C-AAC67515868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A749CC63-A594-4CAC-BDA7-642B37A7C7E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9C702ADE-A6C7-49F6-A767-B449D099AAA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9</c:v>
                </c:pt>
                <c:pt idx="1">
                  <c:v>0.39</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59%</c:v>
                  </c:pt>
                  <c:pt idx="1">
                    <c:v>39%</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9AD8BE8A-346B-405D-A8CE-D1442491759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31F7AE58-1B40-43AA-AD8F-0C3D23E8D19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7C96DEE9-D809-4B34-B304-D53D27F8432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B1E25EDA-5AB7-40FA-A9B4-AF42B025C6A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CF0E0E1B-F318-4001-8E12-79198B8C91A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6999999999999995</c:v>
                </c:pt>
                <c:pt idx="1">
                  <c:v>0.42</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57%</c:v>
                  </c:pt>
                  <c:pt idx="1">
                    <c:v>42%</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819-49AB-9068-B304DBA3CCB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819-49AB-9068-B304DBA3CCB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7DD9E5C4-7055-4A51-8CAB-33447A20A98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F13E36B7-DC00-4E82-9C21-8F16DD364C9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5</c:v>
                </c:pt>
                <c:pt idx="1">
                  <c:v>7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5%</c:v>
                  </c:pt>
                  <c:pt idx="1">
                    <c:v>75%</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3E6-406A-BD18-9D1352DD1788}"/>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3E6-406A-BD18-9D1352DD1788}"/>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D4B1E440-684D-4EA7-9712-F69C90FFB0E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93A1D419-C2CF-445A-923D-24006242C52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c:v>
                </c:pt>
                <c:pt idx="1">
                  <c:v>9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c:v>
                  </c:pt>
                  <c:pt idx="1">
                    <c:v>96%</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044-4A9A-8BF8-13AAE32259E6}"/>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044-4A9A-8BF8-13AAE32259E6}"/>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27952542-3F8D-4497-AE66-41722981AC6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5DB022D9-31F2-4E58-8532-47B6CBC688F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c:v>
                </c:pt>
                <c:pt idx="1">
                  <c:v>9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c:v>
                  </c:pt>
                  <c:pt idx="1">
                    <c:v>92%</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r>
                      <a:rPr lang="en-GB"/>
                      <a:t>8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73EB-456C-B74D-581899DAC290}"/>
                </c:ext>
              </c:extLst>
            </c:dLbl>
            <c:dLbl>
              <c:idx val="1"/>
              <c:tx>
                <c:rich>
                  <a:bodyPr/>
                  <a:lstStyle/>
                  <a:p>
                    <a:fld id="{E906A5B9-6C86-4F08-8666-AF35A06A1A8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fld id="{27C354FC-550A-4EDD-B580-163740549B0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3EB-456C-B74D-581899DAC290}"/>
                </c:ext>
              </c:extLst>
            </c:dLbl>
            <c:dLbl>
              <c:idx val="3"/>
              <c:tx>
                <c:rich>
                  <a:bodyPr/>
                  <a:lstStyle/>
                  <a:p>
                    <a:fld id="{8A81AF5E-E765-4F9F-AADD-0BD18CAA21D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3EB-456C-B74D-581899DAC290}"/>
                </c:ext>
              </c:extLst>
            </c:dLbl>
            <c:dLbl>
              <c:idx val="4"/>
              <c:tx>
                <c:rich>
                  <a:bodyPr/>
                  <a:lstStyle/>
                  <a:p>
                    <a:fld id="{3BC6AF4D-D619-4754-82DE-163981CBDA4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fld id="{601ECF03-418A-4D20-AE1C-252654F323F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8813DEDD-4E50-4DBF-A482-3AD714D97B0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5</c:v>
                </c:pt>
                <c:pt idx="1">
                  <c:v>91</c:v>
                </c:pt>
                <c:pt idx="2">
                  <c:v>82</c:v>
                </c:pt>
                <c:pt idx="3">
                  <c:v>67</c:v>
                </c:pt>
                <c:pt idx="4">
                  <c:v>91</c:v>
                </c:pt>
                <c:pt idx="5">
                  <c:v>34</c:v>
                </c:pt>
                <c:pt idx="6">
                  <c:v>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5%p</c:v>
                  </c:pt>
                  <c:pt idx="1">
                    <c:v>91%</c:v>
                  </c:pt>
                  <c:pt idx="2">
                    <c:v>82%</c:v>
                  </c:pt>
                  <c:pt idx="3">
                    <c:v>67%</c:v>
                  </c:pt>
                  <c:pt idx="4">
                    <c:v>91%</c:v>
                  </c:pt>
                  <c:pt idx="5">
                    <c:v>34%</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53A3DCEF-15BA-467C-8581-FBEA0688D71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C502743E-0ABE-41F9-8D66-B4AE1775EE6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fld id="{9EAC7117-9C7A-4621-AF97-9800F7F7F0E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36-4621-A2A8-3ADDA83CA04C}"/>
                </c:ext>
              </c:extLst>
            </c:dLbl>
            <c:dLbl>
              <c:idx val="3"/>
              <c:tx>
                <c:rich>
                  <a:bodyPr/>
                  <a:lstStyle/>
                  <a:p>
                    <a:r>
                      <a:rPr lang="en-GB"/>
                      <a:t>60%</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3E36-4621-A2A8-3ADDA83CA04C}"/>
                </c:ext>
              </c:extLst>
            </c:dLbl>
            <c:dLbl>
              <c:idx val="4"/>
              <c:tx>
                <c:rich>
                  <a:bodyPr/>
                  <a:lstStyle/>
                  <a:p>
                    <a:fld id="{98FC5C27-D2FF-4CA9-9179-7D5971B453B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B9B59382-074A-4B62-866B-907A1D63999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27ED04C6-8D89-46A4-B893-4567750206B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5</c:v>
                </c:pt>
                <c:pt idx="1">
                  <c:v>90</c:v>
                </c:pt>
                <c:pt idx="2">
                  <c:v>75</c:v>
                </c:pt>
                <c:pt idx="3">
                  <c:v>60</c:v>
                </c:pt>
                <c:pt idx="4">
                  <c:v>88</c:v>
                </c:pt>
                <c:pt idx="5">
                  <c:v>45</c:v>
                </c:pt>
                <c:pt idx="6">
                  <c:v>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5%</c:v>
                  </c:pt>
                  <c:pt idx="1">
                    <c:v>90%</c:v>
                  </c:pt>
                  <c:pt idx="2">
                    <c:v>75%</c:v>
                  </c:pt>
                  <c:pt idx="3">
                    <c:v>60%q</c:v>
                  </c:pt>
                  <c:pt idx="4">
                    <c:v>88%</c:v>
                  </c:pt>
                  <c:pt idx="5">
                    <c:v>45%</c:v>
                  </c:pt>
                  <c:pt idx="6">
                    <c:v>1%</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2</c:v>
                </c:pt>
                <c:pt idx="1">
                  <c:v>28</c:v>
                </c:pt>
                <c:pt idx="2">
                  <c:v>12</c:v>
                </c:pt>
                <c:pt idx="3">
                  <c:v>5</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0</c:v>
                </c:pt>
                <c:pt idx="1">
                  <c:v>32</c:v>
                </c:pt>
                <c:pt idx="2">
                  <c:v>17</c:v>
                </c:pt>
                <c:pt idx="3">
                  <c:v>8</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AF386E36-E1B9-45EB-962D-B7BF48937F4A}"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D4F25561-7278-4D80-B81F-86DBC04F962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C25D45C3-5BAE-4995-913A-61E01AA4EED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9</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4</c15:f>
                <c15:dlblRangeCache>
                  <c:ptCount val="3"/>
                  <c:pt idx="0">
                    <c:v>99%</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14600D78-9A73-4CA8-89D4-78E1D2D167C7}"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3CEF461E-D948-4F19-A18A-89C79CBF972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3780D036-95E3-472C-A32C-7A82022BE53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9</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4</c15:f>
                <c15:dlblRangeCache>
                  <c:ptCount val="3"/>
                  <c:pt idx="0">
                    <c:v>99%</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3</c:v>
                </c:pt>
                <c:pt idx="1">
                  <c:v>22</c:v>
                </c:pt>
                <c:pt idx="2">
                  <c:v>7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5</c:v>
                </c:pt>
                <c:pt idx="1">
                  <c:v>39</c:v>
                </c:pt>
                <c:pt idx="2">
                  <c:v>5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17</c:v>
                </c:pt>
                <c:pt idx="2">
                  <c:v>31</c:v>
                </c:pt>
                <c:pt idx="3">
                  <c:v>19</c:v>
                </c:pt>
                <c:pt idx="4">
                  <c:v>2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3</c:v>
                </c:pt>
                <c:pt idx="1">
                  <c:v>20</c:v>
                </c:pt>
                <c:pt idx="2">
                  <c:v>19</c:v>
                </c:pt>
                <c:pt idx="3">
                  <c:v>18</c:v>
                </c:pt>
                <c:pt idx="4">
                  <c:v>2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14899999999999999</c:v>
                </c:pt>
                <c:pt idx="1">
                  <c:v>0.253</c:v>
                </c:pt>
                <c:pt idx="2">
                  <c:v>0.19500000000000001</c:v>
                </c:pt>
                <c:pt idx="3">
                  <c:v>0.218</c:v>
                </c:pt>
                <c:pt idx="4">
                  <c:v>0.184</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19600000000000001</c:v>
                </c:pt>
                <c:pt idx="1">
                  <c:v>0.25600000000000001</c:v>
                </c:pt>
                <c:pt idx="2">
                  <c:v>0.191</c:v>
                </c:pt>
                <c:pt idx="3">
                  <c:v>0.191</c:v>
                </c:pt>
                <c:pt idx="4">
                  <c:v>0.166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6</c:v>
                </c:pt>
                <c:pt idx="1">
                  <c:v>12</c:v>
                </c:pt>
                <c:pt idx="2">
                  <c:v>30</c:v>
                </c:pt>
                <c:pt idx="3">
                  <c:v>21</c:v>
                </c:pt>
                <c:pt idx="4">
                  <c:v>3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4</c:v>
                </c:pt>
                <c:pt idx="1">
                  <c:v>14</c:v>
                </c:pt>
                <c:pt idx="2">
                  <c:v>23</c:v>
                </c:pt>
                <c:pt idx="3">
                  <c:v>19</c:v>
                </c:pt>
                <c:pt idx="4">
                  <c:v>3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2</c:v>
                </c:pt>
                <c:pt idx="1">
                  <c:v>17</c:v>
                </c:pt>
                <c:pt idx="2">
                  <c:v>32</c:v>
                </c:pt>
                <c:pt idx="3">
                  <c:v>21</c:v>
                </c:pt>
                <c:pt idx="4">
                  <c:v>1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8</c:v>
                </c:pt>
                <c:pt idx="1">
                  <c:v>31</c:v>
                </c:pt>
                <c:pt idx="2">
                  <c:v>18</c:v>
                </c:pt>
                <c:pt idx="3">
                  <c:v>12</c:v>
                </c:pt>
                <c:pt idx="4">
                  <c:v>1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FF9779A1-358B-49B1-961E-471085ADC13C}"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2EC6B74C-0B82-4CC9-9BAC-85DDBABD55A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6181DFFD-9607-4222-8EAC-2C97B0628A2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D2A76784-1AB9-4FC7-BBE4-882F887FEEF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52DADC6C-C968-408A-8CED-5C83A7A7F4C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9</c:v>
                </c:pt>
                <c:pt idx="1">
                  <c:v>0</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99%</c:v>
                  </c:pt>
                  <c:pt idx="1">
                    <c:v>-</c:v>
                  </c:pt>
                  <c:pt idx="2">
                    <c:v>-</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36D153A-FA4F-41D7-B4A1-CB521C02444A}"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DD9CC49D-27AA-40AC-8CCB-13662119BF3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B16A8B1D-9CC9-4FAE-8F7A-50CC8A6742A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7A8EAC97-151A-4280-B7CC-E3F2D425836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24B024F4-74E4-477E-A5C3-11C6A693663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94</c:v>
                </c:pt>
                <c:pt idx="1">
                  <c:v>0</c:v>
                </c:pt>
                <c:pt idx="2">
                  <c:v>0.04</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94%</c:v>
                  </c:pt>
                  <c:pt idx="1">
                    <c:v>-</c:v>
                  </c:pt>
                  <c:pt idx="2">
                    <c:v>4%</c:v>
                  </c:pt>
                  <c:pt idx="3">
                    <c:v>-</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7</c:v>
                </c:pt>
                <c:pt idx="1">
                  <c:v>9</c:v>
                </c:pt>
                <c:pt idx="2">
                  <c:v>30</c:v>
                </c:pt>
                <c:pt idx="3">
                  <c:v>19</c:v>
                </c:pt>
                <c:pt idx="4">
                  <c:v>3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8</c:v>
                </c:pt>
                <c:pt idx="1">
                  <c:v>18</c:v>
                </c:pt>
                <c:pt idx="2">
                  <c:v>22</c:v>
                </c:pt>
                <c:pt idx="3">
                  <c:v>19</c:v>
                </c:pt>
                <c:pt idx="4">
                  <c:v>2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8</c:v>
                </c:pt>
                <c:pt idx="1">
                  <c:v>23</c:v>
                </c:pt>
                <c:pt idx="2">
                  <c:v>43</c:v>
                </c:pt>
                <c:pt idx="3">
                  <c:v>2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4</c:v>
                </c:pt>
                <c:pt idx="1">
                  <c:v>34</c:v>
                </c:pt>
                <c:pt idx="2">
                  <c:v>32</c:v>
                </c:pt>
                <c:pt idx="3">
                  <c:v>1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4</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2</c:v>
                </c:pt>
                <c:pt idx="1">
                  <c:v>40</c:v>
                </c:pt>
                <c:pt idx="2">
                  <c:v>13</c:v>
                </c:pt>
                <c:pt idx="3">
                  <c:v>3</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5</c:v>
                </c:pt>
                <c:pt idx="1">
                  <c:v>24</c:v>
                </c:pt>
                <c:pt idx="2">
                  <c:v>5</c:v>
                </c:pt>
                <c:pt idx="3">
                  <c:v>3</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4</c:v>
                </c:pt>
                <c:pt idx="1">
                  <c:v>48</c:v>
                </c:pt>
                <c:pt idx="2">
                  <c:v>13</c:v>
                </c:pt>
                <c:pt idx="3">
                  <c:v>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0</c:v>
                </c:pt>
                <c:pt idx="1">
                  <c:v>49</c:v>
                </c:pt>
                <c:pt idx="2">
                  <c:v>18</c:v>
                </c:pt>
                <c:pt idx="3">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2</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863-4EF3-8628-514246B9651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863-4EF3-8628-514246B9651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5EF7C264-11A5-4661-B74A-FACE2C83CA4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87%</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F863-4EF3-8628-514246B96513}"/>
                </c:ext>
              </c:extLst>
            </c:dLbl>
            <c:dLbl>
              <c:idx val="1"/>
              <c:tx>
                <c:rich>
                  <a:bodyPr/>
                  <a:lstStyle/>
                  <a:p>
                    <a:r>
                      <a:rPr lang="en-GB"/>
                      <a:t>13%</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7</c:v>
                </c:pt>
                <c:pt idx="1">
                  <c:v>1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7%p</c:v>
                  </c:pt>
                  <c:pt idx="1">
                    <c:v>13%q</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E5E-4713-BCB6-17010B44716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E5E-4713-BCB6-17010B44716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FAF0B1B3-389E-4101-ABB2-5B2D98EC34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5%</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4E5E-4713-BCB6-17010B447163}"/>
                </c:ext>
              </c:extLst>
            </c:dLbl>
            <c:dLbl>
              <c:idx val="1"/>
              <c:tx>
                <c:rich>
                  <a:bodyPr/>
                  <a:lstStyle/>
                  <a:p>
                    <a:r>
                      <a:rPr lang="en-GB"/>
                      <a:t>15%</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5</c:v>
                </c:pt>
                <c:pt idx="1">
                  <c:v>1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5%p</c:v>
                  </c:pt>
                  <c:pt idx="1">
                    <c:v>15%q</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FB6-49AC-A845-714BC7862DE1}"/>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FB6-49AC-A845-714BC7862DE1}"/>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A122D013-70A5-410F-89E6-33B8CC109CB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73D067B0-37F4-453E-A9D1-305D2F4801A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3</c:v>
                </c:pt>
                <c:pt idx="1">
                  <c:v>3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3%</c:v>
                  </c:pt>
                  <c:pt idx="1">
                    <c:v>37%</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1B2-481E-8927-CB542BF48EB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1B2-481E-8927-CB542BF48EB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72A2204D-FF3B-450C-B94E-EC27C82125C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DBBEF1B3-10F2-4A44-839B-5DA288240B1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7</c:v>
                </c:pt>
                <c:pt idx="1">
                  <c:v>2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7%</c:v>
                  </c:pt>
                  <c:pt idx="1">
                    <c:v>23%</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BD0-417A-9AE1-625975EDEF4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BD0-417A-9AE1-625975EDEF4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BF95CA8A-8984-4C87-BCCE-5A0AFF7C927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49%</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1BD0-417A-9AE1-625975EDEF4B}"/>
                </c:ext>
              </c:extLst>
            </c:dLbl>
            <c:dLbl>
              <c:idx val="1"/>
              <c:tx>
                <c:rich>
                  <a:bodyPr/>
                  <a:lstStyle/>
                  <a:p>
                    <a:r>
                      <a:rPr lang="en-GB"/>
                      <a:t>51%</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9</c:v>
                </c:pt>
                <c:pt idx="1">
                  <c:v>5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9%p</c:v>
                  </c:pt>
                  <c:pt idx="1">
                    <c:v>51%q</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31F-4356-B084-576816CB2DE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31F-4356-B084-576816CB2DE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52FAA378-E976-40BA-9DA1-FC2CD97BC99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49%</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331F-4356-B084-576816CB2DE3}"/>
                </c:ext>
              </c:extLst>
            </c:dLbl>
            <c:dLbl>
              <c:idx val="1"/>
              <c:tx>
                <c:rich>
                  <a:bodyPr/>
                  <a:lstStyle/>
                  <a:p>
                    <a:r>
                      <a:rPr lang="en-GB"/>
                      <a:t>51%</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9</c:v>
                </c:pt>
                <c:pt idx="1">
                  <c:v>5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9%p</c:v>
                  </c:pt>
                  <c:pt idx="1">
                    <c:v>51%q</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E81-4665-B9F1-19FE31D5928C}"/>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E81-4665-B9F1-19FE31D5928C}"/>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454E00D1-A8D9-4EAD-ADC3-ECD277B9C60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55%</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9E81-4665-B9F1-19FE31D5928C}"/>
                </c:ext>
              </c:extLst>
            </c:dLbl>
            <c:dLbl>
              <c:idx val="1"/>
              <c:tx>
                <c:rich>
                  <a:bodyPr/>
                  <a:lstStyle/>
                  <a:p>
                    <a:r>
                      <a:rPr lang="en-GB"/>
                      <a:t>45%</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5</c:v>
                </c:pt>
                <c:pt idx="1">
                  <c:v>4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5%p</c:v>
                  </c:pt>
                  <c:pt idx="1">
                    <c:v>45%q</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1DD-430C-8FF3-E4B09270E25F}"/>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DD-430C-8FF3-E4B09270E25F}"/>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2ECD447C-FCCE-4240-8815-F2D1E471C90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E0553B8A-DBAC-4FB8-A07B-33322687AED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6</c:v>
                </c:pt>
                <c:pt idx="1">
                  <c:v>6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6%</c:v>
                  </c:pt>
                  <c:pt idx="1">
                    <c:v>64%</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F3E-4C45-9DAC-B2929C4B2C2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F3E-4C45-9DAC-B2929C4B2C2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155378F1-659E-41C0-816A-85D73050C4E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87%</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4F3E-4C45-9DAC-B2929C4B2C23}"/>
                </c:ext>
              </c:extLst>
            </c:dLbl>
            <c:dLbl>
              <c:idx val="1"/>
              <c:tx>
                <c:rich>
                  <a:bodyPr/>
                  <a:lstStyle/>
                  <a:p>
                    <a:r>
                      <a:rPr lang="en-GB"/>
                      <a:t>13%</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7</c:v>
                </c:pt>
                <c:pt idx="1">
                  <c:v>1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7%p</c:v>
                  </c:pt>
                  <c:pt idx="1">
                    <c:v>13%q</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F81-41A0-AA5F-E21FFFB8EB7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F81-41A0-AA5F-E21FFFB8EB7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D167C22C-4126-4F0D-88AC-BBE806E6D01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47780E8-A37F-4F60-A466-6CCAECCBB95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F81-41A0-AA5F-E21FFFB8EB7E}"/>
                </c:ext>
              </c:extLst>
            </c:dLbl>
            <c:dLbl>
              <c:idx val="1"/>
              <c:tx>
                <c:rich>
                  <a:bodyPr/>
                  <a:lstStyle/>
                  <a:p>
                    <a:fld id="{89EC4CDE-283B-4339-B6E3-9055514D75C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532-49D4-9643-2B7F1FC6412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532-49D4-9643-2B7F1FC6412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D994A98F-BC97-4F75-9E33-8B531F86B7F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71%</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F532-49D4-9643-2B7F1FC6412B}"/>
                </c:ext>
              </c:extLst>
            </c:dLbl>
            <c:dLbl>
              <c:idx val="1"/>
              <c:tx>
                <c:rich>
                  <a:bodyPr/>
                  <a:lstStyle/>
                  <a:p>
                    <a:r>
                      <a:rPr lang="en-GB"/>
                      <a:t>29%</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1</c:v>
                </c:pt>
                <c:pt idx="1">
                  <c:v>2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1%p</c:v>
                  </c:pt>
                  <c:pt idx="1">
                    <c:v>29%q</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C56-4EA4-9136-CE48FDDBE16D}"/>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C56-4EA4-9136-CE48FDDBE16D}"/>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17C218AA-737B-4334-AB09-12FF8B26032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C812E31B-0A65-4545-820C-7084C24A693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3</c:v>
                </c:pt>
                <c:pt idx="1">
                  <c:v>4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3%</c:v>
                  </c:pt>
                  <c:pt idx="1">
                    <c:v>47%</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011-40D3-80BA-F4CA421B82A7}"/>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011-40D3-80BA-F4CA421B82A7}"/>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09FF0717-EA21-4370-BF65-939AA28194F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83%</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6011-40D3-80BA-F4CA421B82A7}"/>
                </c:ext>
              </c:extLst>
            </c:dLbl>
            <c:dLbl>
              <c:idx val="1"/>
              <c:tx>
                <c:rich>
                  <a:bodyPr/>
                  <a:lstStyle/>
                  <a:p>
                    <a:r>
                      <a:rPr lang="en-GB"/>
                      <a:t>17%</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3</c:v>
                </c:pt>
                <c:pt idx="1">
                  <c:v>1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3%p</c:v>
                  </c:pt>
                  <c:pt idx="1">
                    <c:v>17%q</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A96-46F4-8DED-A8EE18A7949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A96-46F4-8DED-A8EE18A7949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731A3979-92CF-405E-B31B-6216093E192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2B5EF2FC-C7E8-48F2-9857-C22616E00FD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6%</c:v>
                  </c:pt>
                  <c:pt idx="1">
                    <c:v>24%</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3</c:v>
                </c:pt>
                <c:pt idx="1">
                  <c:v>36</c:v>
                </c:pt>
                <c:pt idx="2">
                  <c:v>2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32</c:v>
                </c:pt>
                <c:pt idx="1">
                  <c:v>51</c:v>
                </c:pt>
                <c:pt idx="2">
                  <c:v>1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r>
                      <a:rPr lang="en-GB"/>
                      <a:t>10%</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7519-4C1F-9643-9A55D10271AC}"/>
                </c:ext>
              </c:extLst>
            </c:dLbl>
            <c:dLbl>
              <c:idx val="2"/>
              <c:tx>
                <c:rich>
                  <a:bodyPr/>
                  <a:lstStyle/>
                  <a:p>
                    <a:fld id="{91321934-6971-4432-AAB1-99848C88A1E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171B2222-66B6-4DB5-ABA6-92DBA954A01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B299C7A6-BF80-46C8-8627-DF7AEB5D492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r>
                      <a:rPr lang="en-GB"/>
                      <a:t>23%</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7519-4C1F-9643-9A55D10271AC}"/>
                </c:ext>
              </c:extLst>
            </c:dLbl>
            <c:dLbl>
              <c:idx val="6"/>
              <c:tx>
                <c:rich>
                  <a:bodyPr/>
                  <a:lstStyle/>
                  <a:p>
                    <a:fld id="{5062BF7C-9E3E-4226-977D-FA9E5511AEE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58</c:v>
                </c:pt>
                <c:pt idx="1">
                  <c:v>10</c:v>
                </c:pt>
                <c:pt idx="2">
                  <c:v>58</c:v>
                </c:pt>
                <c:pt idx="3">
                  <c:v>36</c:v>
                </c:pt>
                <c:pt idx="4">
                  <c:v>19</c:v>
                </c:pt>
                <c:pt idx="5">
                  <c:v>23</c:v>
                </c:pt>
                <c:pt idx="6">
                  <c:v>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8%</c:v>
                  </c:pt>
                  <c:pt idx="1">
                    <c:v>10%p</c:v>
                  </c:pt>
                  <c:pt idx="2">
                    <c:v>58%</c:v>
                  </c:pt>
                  <c:pt idx="3">
                    <c:v>36%</c:v>
                  </c:pt>
                  <c:pt idx="4">
                    <c:v>19%</c:v>
                  </c:pt>
                  <c:pt idx="5">
                    <c:v>23%p</c:v>
                  </c:pt>
                  <c:pt idx="6">
                    <c:v>9%</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58D72D45-9059-4F0A-8D16-379663AE3BE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0C5F1CA4-FF3F-4C02-8B70-28638B87282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F0064A80-E284-4653-A418-58FEDFC823A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CF986986-257B-4A35-BBBB-53A8E8BE200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0D670793-6DA7-409F-A168-2CFBDCAE34C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C7BCB315-35E0-412E-99F8-C4F7C235FC2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8</c:v>
                </c:pt>
                <c:pt idx="1">
                  <c:v>19</c:v>
                </c:pt>
                <c:pt idx="2">
                  <c:v>29</c:v>
                </c:pt>
                <c:pt idx="3">
                  <c:v>46</c:v>
                </c:pt>
                <c:pt idx="4">
                  <c:v>10</c:v>
                </c:pt>
                <c:pt idx="5">
                  <c:v>18</c:v>
                </c:pt>
                <c:pt idx="6">
                  <c:v>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28%</c:v>
                  </c:pt>
                  <c:pt idx="1">
                    <c:v>19%</c:v>
                  </c:pt>
                  <c:pt idx="2">
                    <c:v>29%</c:v>
                  </c:pt>
                  <c:pt idx="3">
                    <c:v>46%</c:v>
                  </c:pt>
                  <c:pt idx="4">
                    <c:v>10%</c:v>
                  </c:pt>
                  <c:pt idx="5">
                    <c:v>18%</c:v>
                  </c:pt>
                  <c:pt idx="6">
                    <c:v>9%</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2</c:v>
                </c:pt>
                <c:pt idx="1">
                  <c:v>36</c:v>
                </c:pt>
                <c:pt idx="2">
                  <c:v>8</c:v>
                </c:pt>
                <c:pt idx="3">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5</c:v>
                </c:pt>
                <c:pt idx="1">
                  <c:v>40</c:v>
                </c:pt>
                <c:pt idx="2">
                  <c:v>4</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77</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2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77%</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76</c:v>
                </c:pt>
                <c:pt idx="1">
                  <c:v>0.71</c:v>
                </c:pt>
                <c:pt idx="2">
                  <c:v>0.78</c:v>
                </c:pt>
                <c:pt idx="3">
                  <c:v>0.76</c:v>
                </c:pt>
                <c:pt idx="4">
                  <c:v>0.8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D587E92A-63A6-4436-9E7E-B620FC7F3F9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E2863E9C-8365-449C-84B5-622365E3C62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23F78E8C-7AB0-4B15-B3FA-16BC774CE22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6937D040-7309-48FC-940A-11AB5041BFD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24</c:v>
                </c:pt>
                <c:pt idx="1">
                  <c:v>0.28999999999999998</c:v>
                </c:pt>
                <c:pt idx="2">
                  <c:v>0.22</c:v>
                </c:pt>
                <c:pt idx="3">
                  <c:v>0.24</c:v>
                </c:pt>
                <c:pt idx="4">
                  <c:v>0.17</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76%</c:v>
                  </c:pt>
                  <c:pt idx="1">
                    <c:v>71%</c:v>
                  </c:pt>
                  <c:pt idx="2">
                    <c:v>78%</c:v>
                  </c:pt>
                  <c:pt idx="3">
                    <c:v>76%</c:v>
                  </c:pt>
                  <c:pt idx="4">
                    <c:v>83%</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LINCOLNSHIRE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LINCOLNSHIRE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LINCOLNSHIRE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LINCOLNSHIRE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LINCOLNSHIRE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3100" b="0" dirty="0">
                <a:solidFill>
                  <a:prstClr val="white"/>
                </a:solidFill>
                <a:latin typeface="Arial Black" panose="020B0A04020102020204" pitchFamily="34" charset="0"/>
              </a:rPr>
              <a:t>LINCOLNSHIRE INTEGRATED CARE SYSTEM</a:t>
            </a:r>
            <a:endParaRPr lang="en-GB" sz="31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762913078"/>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weight and BMI check as part of their last annual review</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729304404"/>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2531286"/>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Describing their experience at the last annual review as good
Participating in a course about diabetes
Having support from other people living with diabetes
Healthcare professionals providing support to monitor blood sugar level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508030195"/>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LINCOLNSHIR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32003375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405475699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87% of respondents who were marked as Type 1 in the sample selected ‘Type 1’, 10% selected ‘Type 2’, 3% selected ‘Other’ and 1% selected ‘I don’t know’ ​</a:t>
            </a:r>
          </a:p>
          <a:p>
            <a:pPr marL="171450" indent="-171450">
              <a:buFont typeface="Arial" panose="020B0604020202020204" pitchFamily="34" charset="0"/>
              <a:buChar char="•"/>
              <a:defRPr/>
            </a:pPr>
            <a:r>
              <a:rPr lang="en-GB" sz="1200" dirty="0">
                <a:solidFill>
                  <a:schemeClr val="tx1"/>
                </a:solidFill>
                <a:effectLst/>
              </a:rPr>
              <a:t>89% of respondents who were marked as Type 2 in the sample selected ‘Type 2’, 3% selected ‘Type 1’, 3% selected ‘Other’ and 6%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370); Type 2, ICS (557)).</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2903253547"/>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4036346507"/>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2759878725"/>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2450076034"/>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176433052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14); Type 2, National (19,941), ICS (447))</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207446171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123150309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23); Type 2, National (22,278), ICS (508))</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206042762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19064702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294); Type 2, National (21,082), ICS (489))</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325036208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409114332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369); Type 2, National (24,180), ICS (550))</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3675475499"/>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3695051577"/>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936019642"/>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3838332347"/>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310157384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350); Type 2, National (22,482), ICS (511))</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371493797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224333163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8283941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161707092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41885950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187302291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215165304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112300273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396105704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357); Type 2, National (22,670), ICS (522))</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201202070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236795315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97837054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185808732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188127720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85089673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206383442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142115558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355262633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368); Type 2, National (24,076), ICS (549))</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228412667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399391214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159627152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386650377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105370512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67393610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259925000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221738981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369); Type 2, National (24,153), ICS (552))</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131660431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381168500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13830201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233371659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333682760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180184819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71465483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272012623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362857600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370); Type 2, National (24,135), ICS (552))</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153126010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118162736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216589541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261162628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31173080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16663392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171939863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277182779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27649380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70); Type 2, National (24,084), ICS (548))</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366020272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185612700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264433478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287490782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57678486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429030621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71339453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295343830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290783262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69); Type 2, National (24,070), ICS (551))</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282359021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2732005538"/>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205284176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1462967215"/>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463268905"/>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134611600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1796966429"/>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158668468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15317895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70); Type 2, National (24,260), ICS (552))</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133570657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133948087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195569507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390535357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169903546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234679820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223835535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304096927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253029263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370); Type 2, National (24,267), ICS (556))</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69873339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288997071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148302144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423764569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90341104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414553478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412322047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289461439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327859239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69); Type 2, National (24,196), ICS (550))</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351746103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120328488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130340375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369); Type 2, National (24,019), ICS (552))</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351161214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156288635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200); Type 2, National (11,860), ICS (283))</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403789101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141198442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358); Type 2, National (21,228), ICS (476))</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347330034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319639286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53); Type 2, National (20,915), ICS (479))</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273484913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298688586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42); Type 2, National (20,086), ICS (472))</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15657097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42832056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46); Type 2, National (21,890), ICS (501))</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283193737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40401824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23); Type 2, National (18,585), ICS (424))</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161458367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110834841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314589000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416497533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2165388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176831714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361157039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117532502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351); Type 2, National (22,580), ICS (518))</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338645826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1418402317"/>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1910052055"/>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1527068883"/>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3411412533"/>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415909736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271); Type 2, National (12,350), ICS (263))</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199138542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4081035556"/>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299201974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32345555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180826885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403174259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57257222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247066724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344); Type 2, National (10,911), ICS (256))</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237489614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020111259"/>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2145561644"/>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1173074948"/>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581915261"/>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1386586309"/>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4141648343"/>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354))</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2566993889"/>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2601366639"/>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1417854821"/>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77888644"/>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977397501"/>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3658091490"/>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18))</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LINCOLNSHIRE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154</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927</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43%</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dirty="0">
                <a:ln>
                  <a:noFill/>
                </a:ln>
                <a:solidFill>
                  <a:schemeClr val="tx1"/>
                </a:solidFill>
                <a:effectLst/>
                <a:uLnTx/>
                <a:uFillTx/>
                <a:ea typeface="+mn-ea"/>
                <a:cs typeface="+mn-cs"/>
              </a:rPr>
              <a:t>This slide provides information about people living with type 1 or type 2 diabetes who took part in the survey in your ICS.</a:t>
            </a:r>
            <a:endParaRPr lang="en-GB" b="0" dirty="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370</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57</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832</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322</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3989046809"/>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1543143327"/>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1803085337"/>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463386885"/>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3071130445"/>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3534772946"/>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98707952"/>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LINCOLNSHIR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204867640"/>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Your ICS results are not significantly different to the national result for any of the key question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066014201"/>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623423016"/>
              </p:ext>
            </p:extLst>
          </p:nvPr>
        </p:nvGraphicFramePr>
        <p:xfrm>
          <a:off x="6269496" y="2332713"/>
          <a:ext cx="5339912" cy="330708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00000"/>
                        </a:lnSpc>
                        <a:spcBef>
                          <a:spcPts val="2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Having a urine test as part of their last annual review
Describing their experience at the last annual review as good
Participating in a course about diabetes
Having support from other people living with diabetes
Healthcare professionals providing support to monitor blood sugar levels
Healthcare professionals providing support in taking medicine
Healthcare professionals providing support in taking part in physical activity
Healthcare professionals providing support with eating well
Healthcare professionals providing support with emotional and mental health needs
Healthcare professionals providing information about the potential complications of living with diabete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293694344"/>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2.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76A31D0-D410-459F-8B3A-5041DA332E8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01</TotalTime>
  <Words>5405</Words>
  <Application>Microsoft Office PowerPoint</Application>
  <PresentationFormat>Widescreen</PresentationFormat>
  <Paragraphs>813</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Wingdings</vt:lpstr>
      <vt:lpstr>Arial Black</vt:lpstr>
      <vt:lpstr>HelveticaNeueLT Std Lt Cn</vt:lpstr>
      <vt:lpstr>Arial</vt:lpstr>
      <vt:lpstr>Barlow</vt:lpstr>
      <vt:lpstr>Wingdings 3</vt:lpstr>
      <vt:lpstr>Roboto</vt:lpstr>
      <vt:lpstr>Arial (Body)</vt:lpstr>
      <vt:lpstr>Segoe UI</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Jane Stevens</cp:lastModifiedBy>
  <cp:revision>173</cp:revision>
  <cp:lastPrinted>2024-09-17T13:37:47Z</cp:lastPrinted>
  <dcterms:created xsi:type="dcterms:W3CDTF">2024-06-17T14:42:21Z</dcterms:created>
  <dcterms:modified xsi:type="dcterms:W3CDTF">2024-12-04T10:29: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